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659" r:id="rId5"/>
    <p:sldId id="661" r:id="rId6"/>
    <p:sldId id="664" r:id="rId7"/>
    <p:sldId id="685" r:id="rId8"/>
    <p:sldId id="687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0066FF"/>
    <a:srgbClr val="DC202E"/>
    <a:srgbClr val="F2F2F2"/>
    <a:srgbClr val="E0E0E0"/>
    <a:srgbClr val="FFFFFF"/>
    <a:srgbClr val="C0C0C0"/>
    <a:srgbClr val="A0A0A0"/>
    <a:srgbClr val="707070"/>
    <a:srgbClr val="40404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7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3/10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3/10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9575" y="698500"/>
            <a:ext cx="6203950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872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March 10, 2025</a:t>
            </a:fld>
            <a:endParaRPr lang="en-US" dirty="0"/>
          </a:p>
        </p:txBody>
      </p:sp>
      <p:pic>
        <p:nvPicPr>
          <p:cNvPr id="8" name="Graphic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1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March 10, 2025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[Footer, 10pt Arial]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84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 flipH="1">
            <a:off x="5991124" y="1000125"/>
            <a:ext cx="1161" cy="5154869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09788" y="357810"/>
            <a:ext cx="10657769" cy="49861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6FF534-702D-4073-8802-824861BA70B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709787" y="1005840"/>
            <a:ext cx="5284613" cy="5120640"/>
          </a:xfrm>
          <a:prstGeom prst="rect">
            <a:avLst/>
          </a:prstGeom>
        </p:spPr>
        <p:txBody>
          <a:bodyPr/>
          <a:lstStyle>
            <a:lvl1pPr marL="274320">
              <a:spcBef>
                <a:spcPts val="0"/>
              </a:spcBef>
              <a:spcAft>
                <a:spcPts val="200"/>
              </a:spcAft>
              <a:defRPr/>
            </a:lvl1pPr>
            <a:lvl2pPr marL="502920">
              <a:spcBef>
                <a:spcPts val="0"/>
              </a:spcBef>
              <a:spcAft>
                <a:spcPts val="200"/>
              </a:spcAft>
              <a:defRPr/>
            </a:lvl2pPr>
            <a:lvl3pPr marL="685800">
              <a:spcBef>
                <a:spcPts val="0"/>
              </a:spcBef>
              <a:spcAft>
                <a:spcPts val="200"/>
              </a:spcAft>
              <a:defRPr/>
            </a:lvl3pPr>
            <a:lvl4pPr marL="914400" indent="-173736">
              <a:spcBef>
                <a:spcPts val="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97280" indent="-173736">
              <a:spcBef>
                <a:spcPts val="0"/>
              </a:spcBef>
              <a:spcAft>
                <a:spcPts val="200"/>
              </a:spcAft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9"/>
          </p:nvPr>
        </p:nvSpPr>
        <p:spPr>
          <a:xfrm>
            <a:off x="6129867" y="1005840"/>
            <a:ext cx="5284613" cy="5120640"/>
          </a:xfrm>
          <a:prstGeom prst="rect">
            <a:avLst/>
          </a:prstGeom>
        </p:spPr>
        <p:txBody>
          <a:bodyPr/>
          <a:lstStyle>
            <a:lvl1pPr marL="274320">
              <a:spcBef>
                <a:spcPts val="0"/>
              </a:spcBef>
              <a:spcAft>
                <a:spcPts val="200"/>
              </a:spcAft>
              <a:defRPr/>
            </a:lvl1pPr>
            <a:lvl2pPr marL="502920">
              <a:spcBef>
                <a:spcPts val="0"/>
              </a:spcBef>
              <a:spcAft>
                <a:spcPts val="200"/>
              </a:spcAft>
              <a:defRPr/>
            </a:lvl2pPr>
            <a:lvl3pPr marL="685800">
              <a:spcBef>
                <a:spcPts val="0"/>
              </a:spcBef>
              <a:spcAft>
                <a:spcPts val="200"/>
              </a:spcAft>
              <a:defRPr/>
            </a:lvl3pPr>
            <a:lvl4pPr marL="914400" indent="-173736">
              <a:spcBef>
                <a:spcPts val="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97280" indent="-173736">
              <a:spcBef>
                <a:spcPts val="0"/>
              </a:spcBef>
              <a:spcAft>
                <a:spcPts val="200"/>
              </a:spcAft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14114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6435" y="357189"/>
            <a:ext cx="10803467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B9BDE7-D525-4DB0-8C10-AE955DF1FA0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7539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597153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raphic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47" imgH="348" progId="TCLayout.ActiveDocument.1">
                  <p:embed/>
                </p:oleObj>
              </mc:Choice>
              <mc:Fallback>
                <p:oleObj name="think-cell Slide" r:id="rId4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1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54" r:id="rId23"/>
    <p:sldLayoutId id="2147483655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10" r:id="rId37"/>
    <p:sldLayoutId id="2147483712" r:id="rId38"/>
    <p:sldLayoutId id="2147483713" r:id="rId39"/>
    <p:sldLayoutId id="2147483714" r:id="rId4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4.xml"/><Relationship Id="rId5" Type="http://schemas.openxmlformats.org/officeDocument/2006/relationships/image" Target="../media/image8.wmf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efenseandspaceoverview_cover02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-11340"/>
            <a:ext cx="9144000" cy="6855898"/>
          </a:xfrm>
          <a:prstGeom prst="rect">
            <a:avLst/>
          </a:prstGeom>
        </p:spPr>
      </p:pic>
      <p:pic>
        <p:nvPicPr>
          <p:cNvPr id="2051" name="Picture 28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348664" y="6046788"/>
            <a:ext cx="1547812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1762979" y="4824356"/>
            <a:ext cx="596438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40" tIns="45670" rIns="91340" bIns="45670" anchor="ctr"/>
          <a:lstStyle/>
          <a:p>
            <a:pPr>
              <a:lnSpc>
                <a:spcPct val="85000"/>
              </a:lnSpc>
              <a:spcBef>
                <a:spcPct val="15000"/>
              </a:spcBef>
            </a:pPr>
            <a:r>
              <a:rPr lang="en-US" sz="2000" b="1" dirty="0"/>
              <a:t>Supplier Contributions Review Board Meeting</a:t>
            </a:r>
          </a:p>
          <a:p>
            <a:pPr>
              <a:lnSpc>
                <a:spcPct val="85000"/>
              </a:lnSpc>
              <a:spcBef>
                <a:spcPct val="15000"/>
              </a:spcBef>
            </a:pPr>
            <a:r>
              <a:rPr lang="en-US" dirty="0"/>
              <a:t>July 22, 2024</a:t>
            </a:r>
          </a:p>
        </p:txBody>
      </p:sp>
      <p:sp>
        <p:nvSpPr>
          <p:cNvPr id="3" name="BJPseudoFooter"/>
          <p:cNvSpPr txBox="1"/>
          <p:nvPr>
            <p:custDataLst>
              <p:tags r:id="rId1"/>
            </p:custDataLst>
          </p:nvPr>
        </p:nvSpPr>
        <p:spPr>
          <a:xfrm>
            <a:off x="1651000" y="6645246"/>
            <a:ext cx="8890000" cy="20005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70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  <a:endParaRPr lang="en-US" sz="7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B95BD4E-F2A9-468D-BF71-75088BC54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anchor="t">
            <a:normAutofit fontScale="90000"/>
          </a:bodyPr>
          <a:lstStyle/>
          <a:p>
            <a:r>
              <a:rPr lang="en-US" dirty="0">
                <a:solidFill>
                  <a:srgbClr val="FF0000"/>
                </a:solidFill>
              </a:rPr>
              <a:t>Meeting Agenda</a:t>
            </a:r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D96E6D42-EAF0-1503-2BA9-C36004B97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7B94EC18-1D2B-4535-B738-0E53AFE26620}" type="slidenum">
              <a:rPr lang="en-US" smtClean="0"/>
              <a:pPr>
                <a:spcAft>
                  <a:spcPts val="600"/>
                </a:spcAft>
              </a:pPr>
              <a:t>1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F05F505-C8ED-B5A6-0E45-BC7C85E7D3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AutoNum type="romanUcPeriod"/>
            </a:pPr>
            <a:r>
              <a:rPr lang="en-US" dirty="0"/>
              <a:t>Supplier Contributions Defined</a:t>
            </a:r>
          </a:p>
          <a:p>
            <a:pPr marL="514350" indent="-514350">
              <a:buAutoNum type="romanUcPeriod"/>
            </a:pPr>
            <a:r>
              <a:rPr lang="en-US" dirty="0"/>
              <a:t>Pre &amp; Current SC Revision Process</a:t>
            </a:r>
          </a:p>
          <a:p>
            <a:pPr marL="514350" indent="-514350">
              <a:buAutoNum type="romanUcPeriod"/>
            </a:pPr>
            <a:r>
              <a:rPr lang="en-US" dirty="0"/>
              <a:t>SC Roadmap</a:t>
            </a:r>
          </a:p>
          <a:p>
            <a:pPr marL="514350" indent="-514350">
              <a:buAutoNum type="romanUcPeriod"/>
            </a:pPr>
            <a:r>
              <a:rPr lang="en-US" dirty="0"/>
              <a:t>SCRBM Walkthrough</a:t>
            </a:r>
          </a:p>
          <a:p>
            <a:endParaRPr lang="en-US" dirty="0"/>
          </a:p>
          <a:p>
            <a:pPr marL="514350" indent="-514350">
              <a:buAutoNum type="romanU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365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E82DF9-DA8D-446F-906E-ED934015E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Supplier Contributions Define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2928D4-7D9C-4890-7213-7557FE206C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>
            <a:normAutofit/>
          </a:bodyPr>
          <a:lstStyle/>
          <a:p>
            <a:pPr>
              <a:lnSpc>
                <a:spcPct val="90000"/>
              </a:lnSpc>
              <a:buFont typeface="+mj-lt"/>
              <a:buAutoNum type="romanUcPeriod"/>
            </a:pPr>
            <a:r>
              <a:rPr lang="en-US" sz="1900" dirty="0"/>
              <a:t>The Supplier Contributions team is established to review solicitations in order to identify any rebates, allowances, and credits received by contractors; report, and support the remittance of credits and/or refunds to the U.S. Government </a:t>
            </a:r>
          </a:p>
          <a:p>
            <a:pPr>
              <a:lnSpc>
                <a:spcPct val="90000"/>
              </a:lnSpc>
              <a:buFont typeface="+mj-lt"/>
              <a:buAutoNum type="romanUcPeriod"/>
            </a:pPr>
            <a:r>
              <a:rPr lang="en-US" sz="1900" dirty="0"/>
              <a:t>The Supplier Contributions team approves or rejects solicitations to use any item that meets thee supplier contribution criteria as outlined by AP-1814.</a:t>
            </a:r>
          </a:p>
          <a:p>
            <a:pPr marL="0" indent="0">
              <a:lnSpc>
                <a:spcPct val="90000"/>
              </a:lnSpc>
              <a:buNone/>
            </a:pPr>
            <a:endParaRPr lang="en-US" sz="19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351B1B-7430-43DD-9DFB-9C5D7C84D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755" y="6480164"/>
            <a:ext cx="496945" cy="237617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7B94EC18-1D2B-4535-B738-0E53AFE26620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pic>
        <p:nvPicPr>
          <p:cNvPr id="10" name="Content Placeholder 9" descr="Business handshake">
            <a:extLst>
              <a:ext uri="{FF2B5EF4-FFF2-40B4-BE49-F238E27FC236}">
                <a16:creationId xmlns:a16="http://schemas.microsoft.com/office/drawing/2014/main" id="{E4FC55D2-A3B3-4BF3-1579-9DDB1042EF3C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4600" y="1409701"/>
            <a:ext cx="5372100" cy="4457700"/>
          </a:xfrm>
          <a:noFill/>
        </p:spPr>
      </p:pic>
    </p:spTree>
    <p:extLst>
      <p:ext uri="{BB962C8B-B14F-4D97-AF65-F5344CB8AC3E}">
        <p14:creationId xmlns:p14="http://schemas.microsoft.com/office/powerpoint/2010/main" val="12525481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E82DF9-DA8D-446F-906E-ED934015E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Supplier Contributions Comparis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2928D4-7D9C-4890-7213-7557FE206C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en-US" sz="1600" dirty="0"/>
              <a:t>Prior to Defined SC Process</a:t>
            </a:r>
          </a:p>
          <a:p>
            <a:pPr algn="ctr"/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Undefined Workfl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mmunication delays, gaps, and work sto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consistent supplier contributions Inbox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elayed Financial Verific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 Expired Buyer trainings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algn="ctr"/>
            <a:endParaRPr lang="en-US" sz="1600" dirty="0"/>
          </a:p>
          <a:p>
            <a:endParaRPr lang="en-US" sz="1600" dirty="0"/>
          </a:p>
          <a:p>
            <a:pPr algn="ctr"/>
            <a:endParaRPr lang="en-US" sz="1600" dirty="0"/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351B1B-7430-43DD-9DFB-9C5D7C84D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7772C16-5D3B-40A6-088B-C575C81D0CBE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algn="ctr"/>
            <a:r>
              <a:rPr lang="en-US" sz="1600" dirty="0"/>
              <a:t>Current SC Process</a:t>
            </a:r>
          </a:p>
          <a:p>
            <a:pPr algn="ctr"/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efined Workf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ross-Functional Teams synchron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inance Verification Form developed (AF-1373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mproved tracking of pre-solicited contributions.</a:t>
            </a:r>
          </a:p>
        </p:txBody>
      </p:sp>
    </p:spTree>
    <p:extLst>
      <p:ext uri="{BB962C8B-B14F-4D97-AF65-F5344CB8AC3E}">
        <p14:creationId xmlns:p14="http://schemas.microsoft.com/office/powerpoint/2010/main" val="13000622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5E20FC3-BE39-7700-90D9-B7329BA78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Supplier Contributions Roadmap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FB12A-C9F8-021A-648B-0CAC914CD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4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C19132-42ED-ECBE-3188-32CB5E17185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7D03D12F-87DA-88A0-3952-DC726D868AF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6527" y="1409700"/>
            <a:ext cx="1718945" cy="4297363"/>
          </a:xfrm>
        </p:spPr>
      </p:pic>
    </p:spTree>
    <p:extLst>
      <p:ext uri="{BB962C8B-B14F-4D97-AF65-F5344CB8AC3E}">
        <p14:creationId xmlns:p14="http://schemas.microsoft.com/office/powerpoint/2010/main" val="40931261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owerPoint Template16x9_JAN 2021 pptx" id="{7ADA81F6-60E2-4A9C-A6AC-89701DABC9FB}" vid="{876EB37B-3FE2-44EE-A880-832D139843CE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C698D0395332428C569D44F6EABB88" ma:contentTypeVersion="7" ma:contentTypeDescription="Create a new document." ma:contentTypeScope="" ma:versionID="eaa52e2916ecdf243763dc7b383a6c8d">
  <xsd:schema xmlns:xsd="http://www.w3.org/2001/XMLSchema" xmlns:xs="http://www.w3.org/2001/XMLSchema" xmlns:p="http://schemas.microsoft.com/office/2006/metadata/properties" xmlns:ns2="6c175040-0e19-4ec5-85c7-8245fd4f8d08" xmlns:ns3="372dfb38-801d-4d0b-8a24-3b7c135fc8bb" targetNamespace="http://schemas.microsoft.com/office/2006/metadata/properties" ma:root="true" ma:fieldsID="45da0fbf6bb0d61f1402fea8808804cb" ns2:_="" ns3:_="">
    <xsd:import namespace="6c175040-0e19-4ec5-85c7-8245fd4f8d08"/>
    <xsd:import namespace="372dfb38-801d-4d0b-8a24-3b7c135fc8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175040-0e19-4ec5-85c7-8245fd4f8d0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2dfb38-801d-4d0b-8a24-3b7c135fc8b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7B03093-A407-49C2-878C-5C4704DB1E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175040-0e19-4ec5-85c7-8245fd4f8d08"/>
    <ds:schemaRef ds:uri="372dfb38-801d-4d0b-8a24-3b7c135fc8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D8308AD-929C-4AF1-934C-AD13F105D728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43ab3236-659b-4780-8aeb-c4d048060fe8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d546e5e1-5d42-4630-bacd-c69bfdcbd5e8}" enabled="1" method="Standard" siteId="{96ece526-9c7d-48b0-8daf-8b93c90a5d18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HON-PPT-Template_16x9_JAN 2021</Template>
  <TotalTime>57996</TotalTime>
  <Words>155</Words>
  <Application>Microsoft Office PowerPoint</Application>
  <PresentationFormat>Widescreen</PresentationFormat>
  <Paragraphs>34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Arial Black</vt:lpstr>
      <vt:lpstr>Wingdings</vt:lpstr>
      <vt:lpstr>Honeywell 2019</vt:lpstr>
      <vt:lpstr>think-cell Slide</vt:lpstr>
      <vt:lpstr>PowerPoint Presentation</vt:lpstr>
      <vt:lpstr>Meeting Agenda</vt:lpstr>
      <vt:lpstr>Supplier Contributions Defined</vt:lpstr>
      <vt:lpstr>Supplier Contributions Comparison</vt:lpstr>
      <vt:lpstr>Supplier Contributions Roadmap 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21</dc:title>
  <dc:creator>Thomas, Tyler</dc:creator>
  <cp:lastModifiedBy>Stokes, Marreon</cp:lastModifiedBy>
  <cp:revision>101</cp:revision>
  <dcterms:created xsi:type="dcterms:W3CDTF">2021-07-14T20:14:11Z</dcterms:created>
  <dcterms:modified xsi:type="dcterms:W3CDTF">2025-03-10T15:1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C698D0395332428C569D44F6EABB88</vt:lpwstr>
  </property>
  <property fmtid="{D5CDD505-2E9C-101B-9397-08002B2CF9AE}" pid="3" name="MSIP_Label_d546e5e1-5d42-4630-bacd-c69bfdcbd5e8_Enabled">
    <vt:lpwstr>true</vt:lpwstr>
  </property>
  <property fmtid="{D5CDD505-2E9C-101B-9397-08002B2CF9AE}" pid="4" name="MSIP_Label_d546e5e1-5d42-4630-bacd-c69bfdcbd5e8_SetDate">
    <vt:lpwstr>2021-10-07T19:21:59Z</vt:lpwstr>
  </property>
  <property fmtid="{D5CDD505-2E9C-101B-9397-08002B2CF9AE}" pid="5" name="MSIP_Label_d546e5e1-5d42-4630-bacd-c69bfdcbd5e8_Method">
    <vt:lpwstr>Standard</vt:lpwstr>
  </property>
  <property fmtid="{D5CDD505-2E9C-101B-9397-08002B2CF9AE}" pid="6" name="MSIP_Label_d546e5e1-5d42-4630-bacd-c69bfdcbd5e8_Name">
    <vt:lpwstr>d546e5e1-5d42-4630-bacd-c69bfdcbd5e8</vt:lpwstr>
  </property>
  <property fmtid="{D5CDD505-2E9C-101B-9397-08002B2CF9AE}" pid="7" name="MSIP_Label_d546e5e1-5d42-4630-bacd-c69bfdcbd5e8_SiteId">
    <vt:lpwstr>96ece526-9c7d-48b0-8daf-8b93c90a5d18</vt:lpwstr>
  </property>
  <property fmtid="{D5CDD505-2E9C-101B-9397-08002B2CF9AE}" pid="8" name="MSIP_Label_d546e5e1-5d42-4630-bacd-c69bfdcbd5e8_ActionId">
    <vt:lpwstr>9ff641a5-90b1-445c-a805-e37cd35eb456</vt:lpwstr>
  </property>
  <property fmtid="{D5CDD505-2E9C-101B-9397-08002B2CF9AE}" pid="9" name="MSIP_Label_d546e5e1-5d42-4630-bacd-c69bfdcbd5e8_ContentBits">
    <vt:lpwstr>0</vt:lpwstr>
  </property>
  <property fmtid="{D5CDD505-2E9C-101B-9397-08002B2CF9AE}" pid="10" name="SmartTag">
    <vt:lpwstr>4</vt:lpwstr>
  </property>
</Properties>
</file>